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28.xml" ContentType="application/vnd.openxmlformats-officedocument.presentationml.slide+xml"/>
  <Override PartName="/ppt/tags/tag2010.xml" ContentType="application/vnd.openxmlformats-officedocument.presentationml.tags+xml"/>
  <Override PartName="/ppt/tags/tag2015.xml" ContentType="application/vnd.openxmlformats-officedocument.presentationml.tags+xml"/>
  <Override PartName="/ppt/tags/tag2023.xml" ContentType="application/vnd.openxmlformats-officedocument.presentationml.tags+xml"/>
  <Override PartName="/ppt/tags/tag2036.xml" ContentType="application/vnd.openxmlformats-officedocument.presentationml.tags+xml"/>
  <Override PartName="/ppt/tags/tag2018.xml" ContentType="application/vnd.openxmlformats-officedocument.presentationml.tags+xml"/>
  <Override PartName="/ppt/tags/tag203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04.xml" ContentType="application/vnd.openxmlformats-officedocument.presentationml.tags+xml"/>
  <Override PartName="/ppt/tags/tag1999.xml" ContentType="application/vnd.openxmlformats-officedocument.presentationml.tags+xml"/>
  <Override PartName="/ppt/tags/tag2013.xml" ContentType="application/vnd.openxmlformats-officedocument.presentationml.tags+xml"/>
  <Override PartName="/ppt/tags/tag2026.xml" ContentType="application/vnd.openxmlformats-officedocument.presentationml.tags+xml"/>
  <Override PartName="/ppt/tags/tag2003.xml" ContentType="application/vnd.openxmlformats-officedocument.presentationml.tags+xml"/>
  <Override PartName="/ppt/tags/tag2008.xml" ContentType="application/vnd.openxmlformats-officedocument.presentationml.tags+xml"/>
  <Override PartName="/ppt/tags/tag2021.xml" ContentType="application/vnd.openxmlformats-officedocument.presentationml.tags+xml"/>
  <Override PartName="/ppt/tags/tag2029.xml" ContentType="application/vnd.openxmlformats-officedocument.presentationml.tags+xml"/>
  <Override PartName="/ppt/tags/tag2034.xml" ContentType="application/vnd.openxmlformats-officedocument.presentationml.tags+xml"/>
  <Override PartName="/ppt/tags/tag2037.xml" ContentType="application/vnd.openxmlformats-officedocument.presentationml.tags+xml"/>
  <Override PartName="/ppt/tags/tag2002.xml" ContentType="application/vnd.openxmlformats-officedocument.presentationml.tags+xml"/>
  <Override PartName="/ppt/tags/tag2012.xml" ContentType="application/vnd.openxmlformats-officedocument.presentationml.tags+xml"/>
  <Override PartName="/ppt/tags/tag2020.xml" ContentType="application/vnd.openxmlformats-officedocument.presentationml.tags+xml"/>
  <Override PartName="/ppt/tags/tag2025.xml" ContentType="application/vnd.openxmlformats-officedocument.presentationml.tags+xml"/>
  <Override PartName="/ppt/tags/tag2033.xml" ContentType="application/vnd.openxmlformats-officedocument.presentationml.tags+xml"/>
  <Override PartName="/ppt/tags/tag2007.xml" ContentType="application/vnd.openxmlformats-officedocument.presentationml.tags+xml"/>
  <Override PartName="/ppt/tags/tag2016.xml" ContentType="application/vnd.openxmlformats-officedocument.presentationml.tags+xml"/>
  <Override PartName="/ppt/tags/tag2028.xml" ContentType="application/vnd.openxmlformats-officedocument.presentationml.tags+xml"/>
  <Override PartName="/ppt/tags/tag2001.xml" ContentType="application/vnd.openxmlformats-officedocument.presentationml.tags+xml"/>
  <Override PartName="/ppt/tags/tag2006.xml" ContentType="application/vnd.openxmlformats-officedocument.presentationml.tags+xml"/>
  <Override PartName="/ppt/tags/tag2011.xml" ContentType="application/vnd.openxmlformats-officedocument.presentationml.tags+xml"/>
  <Override PartName="/ppt/tags/tag2019.xml" ContentType="application/vnd.openxmlformats-officedocument.presentationml.tags+xml"/>
  <Override PartName="/ppt/tags/tag2024.xml" ContentType="application/vnd.openxmlformats-officedocument.presentationml.tags+xml"/>
  <Override PartName="/ppt/tags/tag2027.xml" ContentType="application/vnd.openxmlformats-officedocument.presentationml.tags+xml"/>
  <Override PartName="/ppt/tags/tag2032.xml" ContentType="application/vnd.openxmlformats-officedocument.presentationml.tags+xml"/>
  <Override PartName="/ppt/notesSlides/notesSlide22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05.xml" ContentType="application/vnd.openxmlformats-officedocument.presentationml.tags+xml"/>
  <Override PartName="/ppt/tags/tag2000.xml" ContentType="application/vnd.openxmlformats-officedocument.presentationml.tags+xml"/>
  <Override PartName="/ppt/tags/tag2009.xml" ContentType="application/vnd.openxmlformats-officedocument.presentationml.tags+xml"/>
  <Override PartName="/ppt/tags/tag2014.xml" ContentType="application/vnd.openxmlformats-officedocument.presentationml.tags+xml"/>
  <Override PartName="/ppt/tags/tag2022.xml" ContentType="application/vnd.openxmlformats-officedocument.presentationml.tags+xml"/>
  <Override PartName="/ppt/tags/tag2030.xml" ContentType="application/vnd.openxmlformats-officedocument.presentationml.tags+xml"/>
  <Override PartName="/ppt/tags/tag2035.xml" ContentType="application/vnd.openxmlformats-officedocument.presentationml.tags+xml"/>
  <Override PartName="/ppt/charts/chart62.xml" ContentType="application/vnd.openxmlformats-officedocument.drawingml.chart+xml"/>
  <Override PartName="/ppt/tags/tag2017.xml" ContentType="application/vnd.openxmlformats-officedocument.presentationml.tags+xml"/>
  <Override PartName="/ppt/tags/tag2038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9" r:id="rId23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28.xml" Id="rId23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6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61.xlsb" Id="rId1" /></Relationships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8571428571429E-2"/>
          <c:y val="7.1060382916053016E-2"/>
          <c:w val="0.97714285714285709"/>
          <c:h val="0.8578792341678939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00</c:v>
                </c:pt>
                <c:pt idx="1">
                  <c:v>240</c:v>
                </c:pt>
                <c:pt idx="2">
                  <c:v>455</c:v>
                </c:pt>
                <c:pt idx="3">
                  <c:v>525</c:v>
                </c:pt>
                <c:pt idx="4">
                  <c:v>565</c:v>
                </c:pt>
                <c:pt idx="5">
                  <c:v>56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F-4698-A0CD-8A9CF01856BA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FF-4698-A0CD-8A9CF01856B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500</c:v>
                </c:pt>
                <c:pt idx="1">
                  <c:v>120</c:v>
                </c:pt>
                <c:pt idx="2">
                  <c:v>50</c:v>
                </c:pt>
                <c:pt idx="3">
                  <c:v>25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FF-4698-A0CD-8A9CF01856B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2FF-4698-A0CD-8A9CF01856B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FF-4698-A0CD-8A9CF01856B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2FF-4698-A0CD-8A9CF01856B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FF-4698-A0CD-8A9CF01856BA}"/>
                </c:ext>
              </c:extLst>
            </c:dLbl>
            <c:dLbl>
              <c:idx val="3"/>
              <c:layout>
                <c:manualLayout>
                  <c:x val="2.2637362637362636E-2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2FF-4698-A0CD-8A9CF01856BA}"/>
                </c:ext>
              </c:extLst>
            </c:dLbl>
            <c:dLbl>
              <c:idx val="4"/>
              <c:layout>
                <c:manualLayout>
                  <c:x val="1.5824175824175824E-2"/>
                  <c:y val="0.10419734904270987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2FF-4698-A0CD-8A9CF01856BA}"/>
                </c:ext>
              </c:extLst>
            </c:dLbl>
            <c:dLbl>
              <c:idx val="5"/>
              <c:layout>
                <c:manualLayout>
                  <c:x val="1.5604395604395605E-2"/>
                  <c:y val="0.1023564064801178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450</c:v>
                </c:pt>
                <c:pt idx="1">
                  <c:v>350</c:v>
                </c:pt>
                <c:pt idx="2">
                  <c:v>120</c:v>
                </c:pt>
                <c:pt idx="3">
                  <c:v>60</c:v>
                </c:pt>
                <c:pt idx="4">
                  <c:v>15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2FF-4698-A0CD-8A9CF01856B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3.6818851251840942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2FF-4698-A0CD-8A9CF01856B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2FF-4698-A0CD-8A9CF01856BA}"/>
                </c:ext>
              </c:extLst>
            </c:dLbl>
            <c:dLbl>
              <c:idx val="4"/>
              <c:layout>
                <c:manualLayout>
                  <c:x val="2.0879120879120878E-2"/>
                  <c:y val="6.2223858615611194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2FF-4698-A0CD-8A9CF01856BA}"/>
                </c:ext>
              </c:extLst>
            </c:dLbl>
            <c:dLbl>
              <c:idx val="5"/>
              <c:layout>
                <c:manualLayout>
                  <c:x val="2.0879120879120878E-2"/>
                  <c:y val="5.8541973490427099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2FF-4698-A0CD-8A9CF01856B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1">
                  <c:v>200</c:v>
                </c:pt>
                <c:pt idx="2">
                  <c:v>70</c:v>
                </c:pt>
                <c:pt idx="3">
                  <c:v>15</c:v>
                </c:pt>
                <c:pt idx="4">
                  <c:v>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2FF-4698-A0CD-8A9CF01856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547023"/>
        <c:axId val="1"/>
      </c:barChart>
      <c:catAx>
        <c:axId val="979547023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9547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8.xml.rels>&#65279;<?xml version="1.0" encoding="utf-8"?><Relationships xmlns="http://schemas.openxmlformats.org/package/2006/relationships"><Relationship Type="http://schemas.openxmlformats.org/officeDocument/2006/relationships/slide" Target="/ppt/slides/slide228.xml" Id="rId2" /><Relationship Type="http://schemas.openxmlformats.org/officeDocument/2006/relationships/notesMaster" Target="/ppt/notesMasters/notesMaster1.xml" Id="rId1" /></Relationships>
</file>

<file path=ppt/notesSlides/notesSlide2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54995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8.xml.rels>&#65279;<?xml version="1.0" encoding="utf-8"?><Relationships xmlns="http://schemas.openxmlformats.org/package/2006/relationships"><Relationship Type="http://schemas.openxmlformats.org/officeDocument/2006/relationships/tags" Target="/ppt/tags/tag2010.xml" Id="rId13" /><Relationship Type="http://schemas.openxmlformats.org/officeDocument/2006/relationships/tags" Target="/ppt/tags/tag2015.xml" Id="rId18" /><Relationship Type="http://schemas.openxmlformats.org/officeDocument/2006/relationships/tags" Target="/ppt/tags/tag2023.xml" Id="rId26" /><Relationship Type="http://schemas.openxmlformats.org/officeDocument/2006/relationships/tags" Target="/ppt/tags/tag2036.xml" Id="rId39" /><Relationship Type="http://schemas.openxmlformats.org/officeDocument/2006/relationships/tags" Target="/ppt/tags/tag2018.xml" Id="rId21" /><Relationship Type="http://schemas.openxmlformats.org/officeDocument/2006/relationships/tags" Target="/ppt/tags/tag2031.xml" Id="rId34" /><Relationship Type="http://schemas.openxmlformats.org/officeDocument/2006/relationships/slideLayout" Target="/ppt/slideLayouts/slideLayout5.xml" Id="rId42" /><Relationship Type="http://schemas.openxmlformats.org/officeDocument/2006/relationships/tags" Target="/ppt/tags/tag2004.xml" Id="rId7" /><Relationship Type="http://schemas.openxmlformats.org/officeDocument/2006/relationships/tags" Target="/ppt/tags/tag1999.xml" Id="rId2" /><Relationship Type="http://schemas.openxmlformats.org/officeDocument/2006/relationships/tags" Target="/ppt/tags/tag2013.xml" Id="rId16" /><Relationship Type="http://schemas.openxmlformats.org/officeDocument/2006/relationships/tags" Target="/ppt/tags/tag2026.xml" Id="rId29" /><Relationship Type="http://schemas.openxmlformats.org/officeDocument/2006/relationships/vmlDrawing" Target="/ppt/drawings/vmlDrawing232.vml" Id="rId1" /><Relationship Type="http://schemas.openxmlformats.org/officeDocument/2006/relationships/tags" Target="/ppt/tags/tag2003.xml" Id="rId6" /><Relationship Type="http://schemas.openxmlformats.org/officeDocument/2006/relationships/tags" Target="/ppt/tags/tag2008.xml" Id="rId11" /><Relationship Type="http://schemas.openxmlformats.org/officeDocument/2006/relationships/tags" Target="/ppt/tags/tag2021.xml" Id="rId24" /><Relationship Type="http://schemas.openxmlformats.org/officeDocument/2006/relationships/tags" Target="/ppt/tags/tag2029.xml" Id="rId32" /><Relationship Type="http://schemas.openxmlformats.org/officeDocument/2006/relationships/tags" Target="/ppt/tags/tag2034.xml" Id="rId37" /><Relationship Type="http://schemas.openxmlformats.org/officeDocument/2006/relationships/tags" Target="/ppt/tags/tag2037.xml" Id="rId40" /><Relationship Type="http://schemas.openxmlformats.org/officeDocument/2006/relationships/image" Target="/ppt/media/image4.emf" Id="rId45" /><Relationship Type="http://schemas.openxmlformats.org/officeDocument/2006/relationships/tags" Target="/ppt/tags/tag2002.xml" Id="rId5" /><Relationship Type="http://schemas.openxmlformats.org/officeDocument/2006/relationships/tags" Target="/ppt/tags/tag2012.xml" Id="rId15" /><Relationship Type="http://schemas.openxmlformats.org/officeDocument/2006/relationships/tags" Target="/ppt/tags/tag2020.xml" Id="rId23" /><Relationship Type="http://schemas.openxmlformats.org/officeDocument/2006/relationships/tags" Target="/ppt/tags/tag2025.xml" Id="rId28" /><Relationship Type="http://schemas.openxmlformats.org/officeDocument/2006/relationships/tags" Target="/ppt/tags/tag2033.xml" Id="rId36" /><Relationship Type="http://schemas.openxmlformats.org/officeDocument/2006/relationships/tags" Target="/ppt/tags/tag2007.xml" Id="rId10" /><Relationship Type="http://schemas.openxmlformats.org/officeDocument/2006/relationships/tags" Target="/ppt/tags/tag2016.xml" Id="rId19" /><Relationship Type="http://schemas.openxmlformats.org/officeDocument/2006/relationships/tags" Target="/ppt/tags/tag2028.xml" Id="rId31" /><Relationship Type="http://schemas.openxmlformats.org/officeDocument/2006/relationships/oleObject" Target="/ppt/embeddings/oleObject232.bin" Id="rId44" /><Relationship Type="http://schemas.openxmlformats.org/officeDocument/2006/relationships/tags" Target="/ppt/tags/tag2001.xml" Id="rId4" /><Relationship Type="http://schemas.openxmlformats.org/officeDocument/2006/relationships/tags" Target="/ppt/tags/tag2006.xml" Id="rId9" /><Relationship Type="http://schemas.openxmlformats.org/officeDocument/2006/relationships/tags" Target="/ppt/tags/tag2011.xml" Id="rId14" /><Relationship Type="http://schemas.openxmlformats.org/officeDocument/2006/relationships/tags" Target="/ppt/tags/tag2019.xml" Id="rId22" /><Relationship Type="http://schemas.openxmlformats.org/officeDocument/2006/relationships/tags" Target="/ppt/tags/tag2024.xml" Id="rId27" /><Relationship Type="http://schemas.openxmlformats.org/officeDocument/2006/relationships/tags" Target="/ppt/tags/tag2027.xml" Id="rId30" /><Relationship Type="http://schemas.openxmlformats.org/officeDocument/2006/relationships/tags" Target="/ppt/tags/tag2032.xml" Id="rId35" /><Relationship Type="http://schemas.openxmlformats.org/officeDocument/2006/relationships/notesSlide" Target="/ppt/notesSlides/notesSlide228.xml" Id="rId43" /><Relationship Type="http://schemas.openxmlformats.org/officeDocument/2006/relationships/tags" Target="/ppt/tags/tag2005.xml" Id="rId8" /><Relationship Type="http://schemas.openxmlformats.org/officeDocument/2006/relationships/tags" Target="/ppt/tags/tag2000.xml" Id="rId3" /><Relationship Type="http://schemas.openxmlformats.org/officeDocument/2006/relationships/tags" Target="/ppt/tags/tag2009.xml" Id="rId12" /><Relationship Type="http://schemas.openxmlformats.org/officeDocument/2006/relationships/tags" Target="/ppt/tags/tag2014.xml" Id="rId17" /><Relationship Type="http://schemas.openxmlformats.org/officeDocument/2006/relationships/tags" Target="/ppt/tags/tag2022.xml" Id="rId25" /><Relationship Type="http://schemas.openxmlformats.org/officeDocument/2006/relationships/tags" Target="/ppt/tags/tag2030.xml" Id="rId33" /><Relationship Type="http://schemas.openxmlformats.org/officeDocument/2006/relationships/tags" Target="/ppt/tags/tag2035.xml" Id="rId38" /><Relationship Type="http://schemas.openxmlformats.org/officeDocument/2006/relationships/chart" Target="/ppt/charts/chart62.xml" Id="rId46" /><Relationship Type="http://schemas.openxmlformats.org/officeDocument/2006/relationships/tags" Target="/ppt/tags/tag2017.xml" Id="rId20" /><Relationship Type="http://schemas.openxmlformats.org/officeDocument/2006/relationships/tags" Target="/ppt/tags/tag2038.xml" Id="rId41" /></Relationships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623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7" name="think-cell 幻灯片" r:id="rId44" imgW="349" imgH="350" progId="TCLayout.ActiveDocument.1">
                  <p:embed/>
                </p:oleObj>
              </mc:Choice>
              <mc:Fallback>
                <p:oleObj name="think-cell 幻灯片" r:id="rId4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Comparison: Funnel, pipeline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65058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chemeClr val="tx2"/>
                </a:solidFill>
              </a:rPr>
              <a:t>Keywords: funnels, pipelines, conversion, waterfall, think-cell, chart, charts, graph, graphs, com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6B13DA-178B-00A9-7E7A-ACF8D78DB1F0}"/>
              </a:ext>
            </a:extLst>
          </p:cNvPr>
          <p:cNvSpPr>
            <a:spLocks/>
          </p:cNvSpPr>
          <p:nvPr/>
        </p:nvSpPr>
        <p:spPr>
          <a:xfrm>
            <a:off x="8811108" y="-805993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waterfa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reate a funnel chart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Insert a build-up waterfall chart. Make sure that the bottom of the first segment is free floating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Add waterfall connectors between the tops of all the bars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Add waterfall connectors between the bottoms of all the bars.</a:t>
            </a: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Delete the baseline.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7D119D21-5C1B-A5DD-211A-042B7CBFCCB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009774" y="5026025"/>
            <a:ext cx="522288" cy="771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498B8DD8-B0B8-8FB2-7E28-95985CEA898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009775" y="2098675"/>
            <a:ext cx="384175" cy="566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9" name="Straight Connector 358">
            <a:extLst>
              <a:ext uri="{FF2B5EF4-FFF2-40B4-BE49-F238E27FC236}">
                <a16:creationId xmlns:a16="http://schemas.microsoft.com/office/drawing/2014/main" id="{7C4C2E98-27A5-9F20-2552-4EA316A8E96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14600" y="2844800"/>
            <a:ext cx="17463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C8EE3D24-7210-74B2-452F-2F1A54D1210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186113" y="4333875"/>
            <a:ext cx="522288" cy="692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E6D908BC-D077-9F0C-9E58-FDAFFEB5831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186113" y="2870200"/>
            <a:ext cx="379413" cy="5032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Straight Connector 364">
            <a:extLst>
              <a:ext uri="{FF2B5EF4-FFF2-40B4-BE49-F238E27FC236}">
                <a16:creationId xmlns:a16="http://schemas.microsoft.com/office/drawing/2014/main" id="{13ADE283-8A31-4592-89D2-0652AD74ED4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689349" y="3536950"/>
            <a:ext cx="19050" cy="2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706C7E5E-761F-CF90-DE15-92118B1CBE1C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362449" y="4108450"/>
            <a:ext cx="522288" cy="225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557BEB75-B246-24E6-AFD2-F4D73AF3401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362449" y="3562350"/>
            <a:ext cx="522288" cy="225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89496DBE-634E-7888-EBDE-8EE198791AC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5538788" y="3979863"/>
            <a:ext cx="522288" cy="128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218C1A32-0B6B-EBB0-34DD-E1F42F9CA2E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538788" y="3787775"/>
            <a:ext cx="522288" cy="128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67B888B8-C3A3-418C-8201-C24CA3296E2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6715124" y="3971925"/>
            <a:ext cx="522288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57F3276B-E9C8-5890-C4E8-76198EF668E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715124" y="3916363"/>
            <a:ext cx="522288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D117AD3F-66F1-4AFF-A1D0-896398C668ED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32163325"/>
              </p:ext>
            </p:extLst>
          </p:nvPr>
        </p:nvGraphicFramePr>
        <p:xfrm>
          <a:off x="1012825" y="1792288"/>
          <a:ext cx="7223125" cy="431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1CD7CC0D-6922-198F-BB29-089B892D9F4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6565900" y="3924300"/>
            <a:ext cx="0" cy="161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5682BC92-78F4-35CC-5112-68EE1E755A0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6621463" y="4405313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1AD72778-430E-2A21-9F8C-1A39EAAF76C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6640513" y="3956050"/>
            <a:ext cx="0" cy="449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D337DAD4-35AE-D8AC-24A5-8C2BBDC18422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7797800" y="4397375"/>
            <a:ext cx="19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9D3DF31C-3B6F-66EC-09AB-473AEFD1C56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7816850" y="3956050"/>
            <a:ext cx="0" cy="441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B2E935D0-F726-959D-2623-121B96DCF1D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7742238" y="3932238"/>
            <a:ext cx="0" cy="146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482724" y="5856288"/>
            <a:ext cx="400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DC71C76-FB61-4569-835A-65350AA7AE8D}" type="datetime'''''''''''''Se''''''''''''''n''''t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nt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598738" y="5856288"/>
            <a:ext cx="520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09D7FC-A519-4586-BF4C-3A5ECF65FD9D}" type="datetime'''V''''''''''''i''''''''''''''e''''''w''''s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iew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95725" y="4146550"/>
            <a:ext cx="279400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5E7752-F4C7-485C-B4F9-6BA269DA9A69}" type="datetime'''''''''''''''''''''''5''0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770313" y="5856288"/>
            <a:ext cx="530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B007BC-AB75-4DEC-8187-45ACF987F1D8}" type="datetime'''C''''l''''''''''''''''''''''''''ic''''k''''s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lick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29189" y="3705225"/>
            <a:ext cx="23812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D1E13ED-DFA7-424A-836A-07BE003423B7}" type="datetime'''''''''''''''''''''''''''''''''''1''''''''''''5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11725" y="3962400"/>
            <a:ext cx="27463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EA7EE2-C516-4557-9729-C55633BC11E5}" type="datetime'''''''2''''''''''''''''''''''''''''''''5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DF39BB1E-B539-6B5C-F7E9-8F200AFE602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818063" y="5856288"/>
            <a:ext cx="788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2539A2-4111-43B6-844D-354821241C12}" type="datetime'''''S''i''''''''''''g''''''''n''''-''''''''''u''''''''''ps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gn-up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05549" y="3873500"/>
            <a:ext cx="16668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167DF0-7A62-4B3E-9892-A0C4A7A8980B}" type="datetime'0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663CAADE-DDA6-A4F7-A4C3-B26AF9588A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086475" y="5856288"/>
            <a:ext cx="604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470FD7-17C9-4EB2-87BE-B0D9746E6CA4}" type="datetime'''O''''''r''''''''''d''''''''''e''''''''''''''''r''s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rder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B4F9E5B9-D058-C6F8-25E7-2DE3336BC7D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481887" y="3865563"/>
            <a:ext cx="166688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921F91-5CE5-46E0-96C1-26788B537646}" type="datetime'''''''''''''''''''''''''''''''''''0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97B08B03-7CEC-4F8D-55E4-08BF143F1E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97700" y="5856288"/>
            <a:ext cx="11350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72A559-7402-40AD-B892-70FF497A5FDA}" type="datetime'T''r''''an''s''a''''''''ct''''''''''''''i''''''''ons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nsactions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74650" y="2716213"/>
            <a:ext cx="838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03960F-D72B-49D4-BD2E-4534CF2C89A3}" type="datetime'''''C''''''han''''n''''''''''''''''''el'''''''''''' 1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annel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38138" y="4243388"/>
            <a:ext cx="874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CF5E9AE-D324-42B5-A0C2-FBDD957794F2}" type="datetime'''C''''''''''''ha''''''n''''n''e''l'''''''''''''' ''''''''2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annel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441450" y="1860550"/>
            <a:ext cx="482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04A73A-A36D-45F2-8A6C-93DD48254CBA}" type="datetime'''''1'',''''''''''1''''''''5''''''''''''''0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5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393950" y="2632075"/>
            <a:ext cx="930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02126A-3E83-4F86-88E1-C4FBDA15B9B6}" type="datetime'''''''''''''''''''''6''''''''''''''''70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0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65A58252-9D2D-4917-8371-1855B86D6868}" type="datetime'''''''''''''''''''5''''''''''''8''''''''''''''''%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65524" y="3324225"/>
            <a:ext cx="941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351E50-5662-4794-BEA9-D2106E63FAD8}" type="datetime'''2''''''4''''''''''''''''''''''''''''''''''''0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B7AF6679-54A8-4BFB-A5F6-F052B0EB846B}" type="datetime'''''3''''''''''''''''''''''''''''''6''''''''''''%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756150" y="3492500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3D7B4E-F183-4C9D-B243-C48D047D54A2}" type="datetime'''''1''''''0''''''''''''''''''0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84D606F9-28BF-4B4D-A924-E60EFD3F398B}" type="datetime'''''''''''''''''''''''4''''2''''''''%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972175" y="3652838"/>
            <a:ext cx="833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C4FF3E-72D9-4384-8410-424424068F3A}" type="datetime'2''''''''0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 (</a:t>
            </a:r>
            <a:fld id="{295CF957-85E2-46DD-8FC3-4D7C95DEF00A}" type="datetime'2''''0''''''''''''''''''''''''''''%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177088" y="3652838"/>
            <a:ext cx="776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A71F9E-42D8-49CA-9453-697F67292F96}" type="datetime'''''''1''''''''''''''''''''''''''''''''''''''''''''5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 (</a:t>
            </a:r>
            <a:fld id="{31AEF006-7540-418E-BB32-B77F4EE52126}" type="datetime'''''7''5''''''''''''%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39725" y="5368925"/>
            <a:ext cx="873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A778264-7E74-4FD7-B0C1-C814E6031FC3}" type="datetime'''''Ch''''''''''''''''''''''''''''ann''e''''''''l'''''' 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hannel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509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0uFRIFn.5WnK2QP1HSA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Aob_mGivp8MF_WL65khw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ofZT.sm5LMFG2uRwvivg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JNWGm.RK9rm8erzT4ZNw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eqLtvwy162OgZ69YPVhQ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0GjTh_uZojIotwIId5Dg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5LFlCftl2_sv1SOPumNQ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HlG_QoF4yCL3MyEzH0A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hU1fNXKgGvX4tIuo8r9A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zkHhwQ6FPiF0fQVbB_w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2EleauBmJjWMQSMx42tw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AVJUwXVzMff7v.g00SuA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.GcnPXvMdG6ILwaK1J6A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yaaIsWXamxZiy5Z1P65A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r6cekbThjkJjCtXTBCQ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YNx4Ubhze7pd1Xe7d1lg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xfp9idjiOihe9iAcPppw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95bWWeHJ8jOZ0VoTGwjA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VXhlc2lFpTJC8R18pQdw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CsY1p3cCniBtUyPmEZCA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KWAcoy6YHPC0fRdJD5cA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0JhVJZGcM0P2dY8mZqQQ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wKE1M2A1897H78Mt70A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Qsk7AlDmFdX.spe9uYg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HQAUcn7k53dFmHjLbSAQ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o5KB6yKyBUe_Ol2Lsnfg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ctc69IvUH2px4WmaSpBA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CA0X_OlvBt4qDPA_EJAw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ciYQUOXjbJkp9_OPLFbg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lbbgBIqFC5MJkI71MfQ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8cAVyuqUcwEJK97FrsNg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575IkYlUFhmjBTA0bng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3ErmENUatdhOJcM2gseA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D7VdjpANAHptN2Md7Z4A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9ssakD.a7qynIO2UJ5cQ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15GjmLx7rAmfqLLT2Rg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OyZb9URaat6tDyxUucA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R_3rLfR0a0ECVFvn9uKg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KArG3XMQFAbFeyzb_8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